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1"/>
  </p:notesMasterIdLst>
  <p:handoutMasterIdLst>
    <p:handoutMasterId r:id="rId22"/>
  </p:handoutMasterIdLst>
  <p:sldIdLst>
    <p:sldId id="1277" r:id="rId4"/>
    <p:sldId id="1293" r:id="rId5"/>
    <p:sldId id="1294" r:id="rId6"/>
    <p:sldId id="1296" r:id="rId7"/>
    <p:sldId id="1359" r:id="rId8"/>
    <p:sldId id="1368" r:id="rId9"/>
    <p:sldId id="1362" r:id="rId10"/>
    <p:sldId id="1360" r:id="rId11"/>
    <p:sldId id="1361" r:id="rId12"/>
    <p:sldId id="1367" r:id="rId13"/>
    <p:sldId id="1366" r:id="rId14"/>
    <p:sldId id="1364" r:id="rId15"/>
    <p:sldId id="1369" r:id="rId16"/>
    <p:sldId id="1343" r:id="rId17"/>
    <p:sldId id="1344" r:id="rId18"/>
    <p:sldId id="1345" r:id="rId19"/>
    <p:sldId id="1346" r:id="rId20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8"/>
            <p14:sldId id="1362"/>
            <p14:sldId id="1360"/>
            <p14:sldId id="1361"/>
            <p14:sldId id="1367"/>
            <p14:sldId id="1366"/>
            <p14:sldId id="1364"/>
            <p14:sldId id="136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26-4630-A812-777EA7EFC430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Jihočeský kraj</c:v>
                </c:pt>
                <c:pt idx="5">
                  <c:v>Liberec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5825186888999999</c:v>
                </c:pt>
                <c:pt idx="1">
                  <c:v>0.35813953488299999</c:v>
                </c:pt>
                <c:pt idx="2">
                  <c:v>0.31199502796700002</c:v>
                </c:pt>
                <c:pt idx="3">
                  <c:v>0.31013916500900002</c:v>
                </c:pt>
                <c:pt idx="4">
                  <c:v>0.291921664626</c:v>
                </c:pt>
                <c:pt idx="5">
                  <c:v>0.26322263222600001</c:v>
                </c:pt>
                <c:pt idx="6">
                  <c:v>0.25083240843499999</c:v>
                </c:pt>
                <c:pt idx="7">
                  <c:v>0.24449038842199999</c:v>
                </c:pt>
                <c:pt idx="8">
                  <c:v>0.23731138545899999</c:v>
                </c:pt>
                <c:pt idx="9">
                  <c:v>0.22616407982200001</c:v>
                </c:pt>
                <c:pt idx="10">
                  <c:v>0.21388101982999999</c:v>
                </c:pt>
                <c:pt idx="11">
                  <c:v>0.19138755980800001</c:v>
                </c:pt>
                <c:pt idx="12">
                  <c:v>0.18396987627700001</c:v>
                </c:pt>
                <c:pt idx="13">
                  <c:v>0.13696892834400001</c:v>
                </c:pt>
                <c:pt idx="14">
                  <c:v>0.13480741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4F6-4B98-A87E-16778D7885BE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04-40BF-837A-EC3075975C21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Zlínský kraj</c:v>
                </c:pt>
                <c:pt idx="6">
                  <c:v>Jihočes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Úste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41592920353899998</c:v>
                </c:pt>
                <c:pt idx="1">
                  <c:v>0.41414141414099997</c:v>
                </c:pt>
                <c:pt idx="2">
                  <c:v>0.38425925925900001</c:v>
                </c:pt>
                <c:pt idx="3">
                  <c:v>0.35114503816699999</c:v>
                </c:pt>
                <c:pt idx="4">
                  <c:v>0.33478260869499998</c:v>
                </c:pt>
                <c:pt idx="5">
                  <c:v>0.32240437158399998</c:v>
                </c:pt>
                <c:pt idx="6">
                  <c:v>0.29931972789099998</c:v>
                </c:pt>
                <c:pt idx="7">
                  <c:v>0.28865979381399998</c:v>
                </c:pt>
                <c:pt idx="8">
                  <c:v>0.28414096916199999</c:v>
                </c:pt>
                <c:pt idx="9">
                  <c:v>0.28290766208200002</c:v>
                </c:pt>
                <c:pt idx="10">
                  <c:v>0.26315789473599999</c:v>
                </c:pt>
                <c:pt idx="11">
                  <c:v>0.25660377358399999</c:v>
                </c:pt>
                <c:pt idx="12">
                  <c:v>0.20792079207899999</c:v>
                </c:pt>
                <c:pt idx="13">
                  <c:v>0.20481927710799999</c:v>
                </c:pt>
                <c:pt idx="14">
                  <c:v>0.17070063694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81-497E-AFA1-C45C5FDAC5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Karlovarský kraj</c:v>
                </c:pt>
                <c:pt idx="13">
                  <c:v>Plzeň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6956521739100001</c:v>
                </c:pt>
                <c:pt idx="1">
                  <c:v>0.34615384615299999</c:v>
                </c:pt>
                <c:pt idx="2">
                  <c:v>0.328125</c:v>
                </c:pt>
                <c:pt idx="3">
                  <c:v>0.32489451476699999</c:v>
                </c:pt>
                <c:pt idx="4">
                  <c:v>0.25352112675999999</c:v>
                </c:pt>
                <c:pt idx="5">
                  <c:v>0.225806451612</c:v>
                </c:pt>
                <c:pt idx="6">
                  <c:v>0.225806451612</c:v>
                </c:pt>
                <c:pt idx="7">
                  <c:v>0.210526315789</c:v>
                </c:pt>
                <c:pt idx="8">
                  <c:v>0.202735710796</c:v>
                </c:pt>
                <c:pt idx="9">
                  <c:v>0.184873949579</c:v>
                </c:pt>
                <c:pt idx="10">
                  <c:v>0.181229773462</c:v>
                </c:pt>
                <c:pt idx="11">
                  <c:v>0.14814814814800001</c:v>
                </c:pt>
                <c:pt idx="12">
                  <c:v>0.13953488372</c:v>
                </c:pt>
                <c:pt idx="13">
                  <c:v>0.13793103448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3</c:v>
                </c:pt>
                <c:pt idx="18">
                  <c:v>734</c:v>
                </c:pt>
                <c:pt idx="19">
                  <c:v>795</c:v>
                </c:pt>
                <c:pt idx="20">
                  <c:v>850</c:v>
                </c:pt>
                <c:pt idx="21">
                  <c:v>922</c:v>
                </c:pt>
                <c:pt idx="22">
                  <c:v>929</c:v>
                </c:pt>
                <c:pt idx="23">
                  <c:v>992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3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3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85</c:v>
                </c:pt>
                <c:pt idx="46">
                  <c:v>4862</c:v>
                </c:pt>
                <c:pt idx="47">
                  <c:v>4821</c:v>
                </c:pt>
                <c:pt idx="48">
                  <c:v>5187</c:v>
                </c:pt>
                <c:pt idx="49">
                  <c:v>5314</c:v>
                </c:pt>
                <c:pt idx="50">
                  <c:v>5202</c:v>
                </c:pt>
                <c:pt idx="51">
                  <c:v>5420</c:v>
                </c:pt>
                <c:pt idx="52">
                  <c:v>6012</c:v>
                </c:pt>
                <c:pt idx="53">
                  <c:v>6124</c:v>
                </c:pt>
                <c:pt idx="54">
                  <c:v>6215</c:v>
                </c:pt>
                <c:pt idx="55">
                  <c:v>6325</c:v>
                </c:pt>
                <c:pt idx="56">
                  <c:v>6425</c:v>
                </c:pt>
                <c:pt idx="57">
                  <c:v>6208</c:v>
                </c:pt>
                <c:pt idx="58">
                  <c:v>6409</c:v>
                </c:pt>
                <c:pt idx="59">
                  <c:v>7082</c:v>
                </c:pt>
                <c:pt idx="60">
                  <c:v>7015</c:v>
                </c:pt>
                <c:pt idx="61">
                  <c:v>6964</c:v>
                </c:pt>
                <c:pt idx="62">
                  <c:v>7059</c:v>
                </c:pt>
                <c:pt idx="63">
                  <c:v>7018</c:v>
                </c:pt>
                <c:pt idx="64">
                  <c:v>6556</c:v>
                </c:pt>
                <c:pt idx="65">
                  <c:v>6663</c:v>
                </c:pt>
                <c:pt idx="66">
                  <c:v>7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1</c:v>
                </c:pt>
                <c:pt idx="59">
                  <c:v>986</c:v>
                </c:pt>
                <c:pt idx="60">
                  <c:v>989</c:v>
                </c:pt>
                <c:pt idx="61">
                  <c:v>980</c:v>
                </c:pt>
                <c:pt idx="62">
                  <c:v>971</c:v>
                </c:pt>
                <c:pt idx="63">
                  <c:v>966</c:v>
                </c:pt>
                <c:pt idx="64">
                  <c:v>937</c:v>
                </c:pt>
                <c:pt idx="65">
                  <c:v>964</c:v>
                </c:pt>
                <c:pt idx="66">
                  <c:v>986</c:v>
                </c:pt>
                <c:pt idx="67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9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8038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06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62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43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341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97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8365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408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285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4522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25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980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8265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62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chart" Target="../charts/chart4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9</a:t>
            </a:r>
            <a:r>
              <a:rPr lang="cs-CZ" b="1" dirty="0" smtClean="0"/>
              <a:t>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41C467EC-0C92-4EA1-B7FB-E8D8A477635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8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9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9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52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6978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8BF623F-529C-4765-91BE-5F9771F0870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8479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17330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1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7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67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loňským podzimem datům z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4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1D25E3E8-FB17-40B0-9079-941C457344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9908" y="1213339"/>
            <a:ext cx="8563708" cy="511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419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09290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7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95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42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460036"/>
              </p:ext>
            </p:extLst>
          </p:nvPr>
        </p:nvGraphicFramePr>
        <p:xfrm>
          <a:off x="367815" y="761755"/>
          <a:ext cx="11405086" cy="5832529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rámci kra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720369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307675"/>
              </p:ext>
            </p:extLst>
          </p:nvPr>
        </p:nvGraphicFramePr>
        <p:xfrm>
          <a:off x="350228" y="664385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554947"/>
              </p:ext>
            </p:extLst>
          </p:nvPr>
        </p:nvGraphicFramePr>
        <p:xfrm>
          <a:off x="372867" y="838718"/>
          <a:ext cx="11435203" cy="3618504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4" y="2248063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9.12.2021 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79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899962"/>
              </p:ext>
            </p:extLst>
          </p:nvPr>
        </p:nvGraphicFramePr>
        <p:xfrm>
          <a:off x="8974794" y="4216773"/>
          <a:ext cx="2923309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9001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054308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574434"/>
              </p:ext>
            </p:extLst>
          </p:nvPr>
        </p:nvGraphicFramePr>
        <p:xfrm>
          <a:off x="244897" y="980806"/>
          <a:ext cx="8863936" cy="5317321"/>
        </p:xfrm>
        <a:graphic>
          <a:graphicData uri="http://schemas.openxmlformats.org/drawingml/2006/table">
            <a:tbl>
              <a:tblPr/>
              <a:tblGrid>
                <a:gridCol w="1928937">
                  <a:extLst>
                    <a:ext uri="{9D8B030D-6E8A-4147-A177-3AD203B41FA5}">
                      <a16:colId xmlns:a16="http://schemas.microsoft.com/office/drawing/2014/main" val="2751899119"/>
                    </a:ext>
                  </a:extLst>
                </a:gridCol>
                <a:gridCol w="1180984">
                  <a:extLst>
                    <a:ext uri="{9D8B030D-6E8A-4147-A177-3AD203B41FA5}">
                      <a16:colId xmlns:a16="http://schemas.microsoft.com/office/drawing/2014/main" val="3267606206"/>
                    </a:ext>
                  </a:extLst>
                </a:gridCol>
                <a:gridCol w="1092412">
                  <a:extLst>
                    <a:ext uri="{9D8B030D-6E8A-4147-A177-3AD203B41FA5}">
                      <a16:colId xmlns:a16="http://schemas.microsoft.com/office/drawing/2014/main" val="626719977"/>
                    </a:ext>
                  </a:extLst>
                </a:gridCol>
                <a:gridCol w="1089129">
                  <a:extLst>
                    <a:ext uri="{9D8B030D-6E8A-4147-A177-3AD203B41FA5}">
                      <a16:colId xmlns:a16="http://schemas.microsoft.com/office/drawing/2014/main" val="2602705319"/>
                    </a:ext>
                  </a:extLst>
                </a:gridCol>
                <a:gridCol w="1128495">
                  <a:extLst>
                    <a:ext uri="{9D8B030D-6E8A-4147-A177-3AD203B41FA5}">
                      <a16:colId xmlns:a16="http://schemas.microsoft.com/office/drawing/2014/main" val="1413269879"/>
                    </a:ext>
                  </a:extLst>
                </a:gridCol>
                <a:gridCol w="1131776">
                  <a:extLst>
                    <a:ext uri="{9D8B030D-6E8A-4147-A177-3AD203B41FA5}">
                      <a16:colId xmlns:a16="http://schemas.microsoft.com/office/drawing/2014/main" val="4100367368"/>
                    </a:ext>
                  </a:extLst>
                </a:gridCol>
                <a:gridCol w="1312203">
                  <a:extLst>
                    <a:ext uri="{9D8B030D-6E8A-4147-A177-3AD203B41FA5}">
                      <a16:colId xmlns:a16="http://schemas.microsoft.com/office/drawing/2014/main" val="728008992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204218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9.12. 2021, 11:3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4273182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516779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2352885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99474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6575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04760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31623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11571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34090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952896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464980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473047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12408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96202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054208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717972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5113190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826109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693242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335247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880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5498736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93409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288848"/>
              </p:ext>
            </p:extLst>
          </p:nvPr>
        </p:nvGraphicFramePr>
        <p:xfrm>
          <a:off x="332819" y="1025523"/>
          <a:ext cx="8960650" cy="5322322"/>
        </p:xfrm>
        <a:graphic>
          <a:graphicData uri="http://schemas.openxmlformats.org/drawingml/2006/table">
            <a:tbl>
              <a:tblPr/>
              <a:tblGrid>
                <a:gridCol w="1949987">
                  <a:extLst>
                    <a:ext uri="{9D8B030D-6E8A-4147-A177-3AD203B41FA5}">
                      <a16:colId xmlns:a16="http://schemas.microsoft.com/office/drawing/2014/main" val="106645921"/>
                    </a:ext>
                  </a:extLst>
                </a:gridCol>
                <a:gridCol w="1193869">
                  <a:extLst>
                    <a:ext uri="{9D8B030D-6E8A-4147-A177-3AD203B41FA5}">
                      <a16:colId xmlns:a16="http://schemas.microsoft.com/office/drawing/2014/main" val="3340385921"/>
                    </a:ext>
                  </a:extLst>
                </a:gridCol>
                <a:gridCol w="1104330">
                  <a:extLst>
                    <a:ext uri="{9D8B030D-6E8A-4147-A177-3AD203B41FA5}">
                      <a16:colId xmlns:a16="http://schemas.microsoft.com/office/drawing/2014/main" val="4014555196"/>
                    </a:ext>
                  </a:extLst>
                </a:gridCol>
                <a:gridCol w="1101010">
                  <a:extLst>
                    <a:ext uri="{9D8B030D-6E8A-4147-A177-3AD203B41FA5}">
                      <a16:colId xmlns:a16="http://schemas.microsoft.com/office/drawing/2014/main" val="1372515342"/>
                    </a:ext>
                  </a:extLst>
                </a:gridCol>
                <a:gridCol w="1140808">
                  <a:extLst>
                    <a:ext uri="{9D8B030D-6E8A-4147-A177-3AD203B41FA5}">
                      <a16:colId xmlns:a16="http://schemas.microsoft.com/office/drawing/2014/main" val="3884663373"/>
                    </a:ext>
                  </a:extLst>
                </a:gridCol>
                <a:gridCol w="1144125">
                  <a:extLst>
                    <a:ext uri="{9D8B030D-6E8A-4147-A177-3AD203B41FA5}">
                      <a16:colId xmlns:a16="http://schemas.microsoft.com/office/drawing/2014/main" val="1137822919"/>
                    </a:ext>
                  </a:extLst>
                </a:gridCol>
                <a:gridCol w="1326521">
                  <a:extLst>
                    <a:ext uri="{9D8B030D-6E8A-4147-A177-3AD203B41FA5}">
                      <a16:colId xmlns:a16="http://schemas.microsoft.com/office/drawing/2014/main" val="2963764560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8695505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9.12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989847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667982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163765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722590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83654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21289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71615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07657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0622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10700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57264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036825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90838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12032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51937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616405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469672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371528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610936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125194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365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262654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44342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9</a:t>
            </a:r>
            <a:r>
              <a:rPr lang="cs-CZ" b="1" dirty="0" smtClean="0"/>
              <a:t>.12.2021 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499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82743"/>
              </p:ext>
            </p:extLst>
          </p:nvPr>
        </p:nvGraphicFramePr>
        <p:xfrm>
          <a:off x="332818" y="1016735"/>
          <a:ext cx="8767221" cy="5303976"/>
        </p:xfrm>
        <a:graphic>
          <a:graphicData uri="http://schemas.openxmlformats.org/drawingml/2006/table">
            <a:tbl>
              <a:tblPr/>
              <a:tblGrid>
                <a:gridCol w="1870510">
                  <a:extLst>
                    <a:ext uri="{9D8B030D-6E8A-4147-A177-3AD203B41FA5}">
                      <a16:colId xmlns:a16="http://schemas.microsoft.com/office/drawing/2014/main" val="507808911"/>
                    </a:ext>
                  </a:extLst>
                </a:gridCol>
                <a:gridCol w="1145210">
                  <a:extLst>
                    <a:ext uri="{9D8B030D-6E8A-4147-A177-3AD203B41FA5}">
                      <a16:colId xmlns:a16="http://schemas.microsoft.com/office/drawing/2014/main" val="3573687726"/>
                    </a:ext>
                  </a:extLst>
                </a:gridCol>
                <a:gridCol w="1059319">
                  <a:extLst>
                    <a:ext uri="{9D8B030D-6E8A-4147-A177-3AD203B41FA5}">
                      <a16:colId xmlns:a16="http://schemas.microsoft.com/office/drawing/2014/main" val="2576307876"/>
                    </a:ext>
                  </a:extLst>
                </a:gridCol>
                <a:gridCol w="1056138">
                  <a:extLst>
                    <a:ext uri="{9D8B030D-6E8A-4147-A177-3AD203B41FA5}">
                      <a16:colId xmlns:a16="http://schemas.microsoft.com/office/drawing/2014/main" val="2936447548"/>
                    </a:ext>
                  </a:extLst>
                </a:gridCol>
                <a:gridCol w="1094313">
                  <a:extLst>
                    <a:ext uri="{9D8B030D-6E8A-4147-A177-3AD203B41FA5}">
                      <a16:colId xmlns:a16="http://schemas.microsoft.com/office/drawing/2014/main" val="4148634080"/>
                    </a:ext>
                  </a:extLst>
                </a:gridCol>
                <a:gridCol w="1272455">
                  <a:extLst>
                    <a:ext uri="{9D8B030D-6E8A-4147-A177-3AD203B41FA5}">
                      <a16:colId xmlns:a16="http://schemas.microsoft.com/office/drawing/2014/main" val="3873989853"/>
                    </a:ext>
                  </a:extLst>
                </a:gridCol>
                <a:gridCol w="1269276">
                  <a:extLst>
                    <a:ext uri="{9D8B030D-6E8A-4147-A177-3AD203B41FA5}">
                      <a16:colId xmlns:a16="http://schemas.microsoft.com/office/drawing/2014/main" val="3193343283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351646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9.12. 2021, 11:3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323214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442881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331429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51665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42028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5842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77564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4710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10486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51407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66041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82162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75398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43230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6190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57671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14585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393915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485227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8427419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3948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330691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7064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11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833781"/>
              </p:ext>
            </p:extLst>
          </p:nvPr>
        </p:nvGraphicFramePr>
        <p:xfrm>
          <a:off x="1440866" y="2023571"/>
          <a:ext cx="5883126" cy="2771770"/>
        </p:xfrm>
        <a:graphic>
          <a:graphicData uri="http://schemas.openxmlformats.org/drawingml/2006/table">
            <a:tbl>
              <a:tblPr/>
              <a:tblGrid>
                <a:gridCol w="3671018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10806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01302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2.2021 6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9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21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 9:0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H Hospital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řovic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7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. Pardubického kraje, a.s., Svitavs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8:3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9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ezikrajové překlady pacientů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977911"/>
            <a:ext cx="11684522" cy="44098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600" dirty="0" smtClean="0"/>
              <a:t>9.12. NDLP koordinoval pozemní překlad pacienta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2600" dirty="0" smtClean="0"/>
              <a:t>C+ UPV </a:t>
            </a:r>
            <a:r>
              <a:rPr lang="cs-CZ" sz="2600" dirty="0"/>
              <a:t>*</a:t>
            </a:r>
            <a:r>
              <a:rPr lang="cs-CZ" sz="2600" dirty="0" smtClean="0"/>
              <a:t>1967 z ARO </a:t>
            </a:r>
            <a:r>
              <a:rPr lang="cs-CZ" sz="2600" dirty="0" err="1" smtClean="0"/>
              <a:t>Havl</a:t>
            </a:r>
            <a:r>
              <a:rPr lang="cs-CZ" sz="2600" dirty="0" smtClean="0"/>
              <a:t>. Brod (VYS) do Nemocnice Homolka (PHA)</a:t>
            </a:r>
            <a:endParaRPr lang="cs-CZ" sz="2600" dirty="0"/>
          </a:p>
        </p:txBody>
      </p:sp>
    </p:spTree>
    <p:extLst>
      <p:ext uri="{BB962C8B-B14F-4D97-AF65-F5344CB8AC3E}">
        <p14:creationId xmlns:p14="http://schemas.microsoft.com/office/powerpoint/2010/main" val="32254218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538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46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245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624</TotalTime>
  <Words>2307</Words>
  <Application>Microsoft Office PowerPoint</Application>
  <PresentationFormat>Širokoúhlá obrazovka</PresentationFormat>
  <Paragraphs>686</Paragraphs>
  <Slides>1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7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Mezikrajové překlady pacientů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673</cp:revision>
  <cp:lastPrinted>2020-10-20T04:21:56Z</cp:lastPrinted>
  <dcterms:created xsi:type="dcterms:W3CDTF">2020-07-15T10:33:32Z</dcterms:created>
  <dcterms:modified xsi:type="dcterms:W3CDTF">2021-12-09T14:16:19Z</dcterms:modified>
</cp:coreProperties>
</file>